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4968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8C2E0"/>
    <a:srgbClr val="97D0B1"/>
    <a:srgbClr val="406352"/>
    <a:srgbClr val="CBCAEA"/>
    <a:srgbClr val="D7B9E1"/>
    <a:srgbClr val="292866"/>
    <a:srgbClr val="D5ECE0"/>
    <a:srgbClr val="F2F2F2"/>
    <a:srgbClr val="2B4871"/>
    <a:srgbClr val="05BAD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835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1212" y="78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6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6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2588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FC4A6DC3-43E5-2BE0-A8FA-14D095567573}"/>
              </a:ext>
            </a:extLst>
          </p:cNvPr>
          <p:cNvSpPr/>
          <p:nvPr userDrawn="1"/>
        </p:nvSpPr>
        <p:spPr>
          <a:xfrm>
            <a:off x="5412708" y="0"/>
            <a:ext cx="6779292" cy="6858000"/>
          </a:xfrm>
          <a:custGeom>
            <a:avLst/>
            <a:gdLst>
              <a:gd name="connsiteX0" fmla="*/ 762028 w 6779292"/>
              <a:gd name="connsiteY0" fmla="*/ 0 h 6858000"/>
              <a:gd name="connsiteX1" fmla="*/ 4920012 w 6779292"/>
              <a:gd name="connsiteY1" fmla="*/ 0 h 6858000"/>
              <a:gd name="connsiteX2" fmla="*/ 4998692 w 6779292"/>
              <a:gd name="connsiteY2" fmla="*/ 0 h 6858000"/>
              <a:gd name="connsiteX3" fmla="*/ 6779292 w 6779292"/>
              <a:gd name="connsiteY3" fmla="*/ 0 h 6858000"/>
              <a:gd name="connsiteX4" fmla="*/ 6779292 w 6779292"/>
              <a:gd name="connsiteY4" fmla="*/ 2286000 h 6858000"/>
              <a:gd name="connsiteX5" fmla="*/ 6779292 w 6779292"/>
              <a:gd name="connsiteY5" fmla="*/ 4572000 h 6858000"/>
              <a:gd name="connsiteX6" fmla="*/ 6779292 w 6779292"/>
              <a:gd name="connsiteY6" fmla="*/ 6858000 h 6858000"/>
              <a:gd name="connsiteX7" fmla="*/ 0 w 6779292"/>
              <a:gd name="connsiteY7" fmla="*/ 6858000 h 6858000"/>
              <a:gd name="connsiteX8" fmla="*/ 0 w 6779292"/>
              <a:gd name="connsiteY8" fmla="*/ 5943572 h 6858000"/>
              <a:gd name="connsiteX9" fmla="*/ 0 w 6779292"/>
              <a:gd name="connsiteY9" fmla="*/ 2286000 h 6858000"/>
              <a:gd name="connsiteX10" fmla="*/ 0 w 6779292"/>
              <a:gd name="connsiteY10" fmla="*/ 762028 h 6858000"/>
              <a:gd name="connsiteX11" fmla="*/ 762028 w 6779292"/>
              <a:gd name="connsiteY11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779292" h="6858000">
                <a:moveTo>
                  <a:pt x="762028" y="0"/>
                </a:moveTo>
                <a:lnTo>
                  <a:pt x="4920012" y="0"/>
                </a:lnTo>
                <a:lnTo>
                  <a:pt x="4998692" y="0"/>
                </a:lnTo>
                <a:lnTo>
                  <a:pt x="6779292" y="0"/>
                </a:lnTo>
                <a:lnTo>
                  <a:pt x="6779292" y="2286000"/>
                </a:lnTo>
                <a:lnTo>
                  <a:pt x="6779292" y="4572000"/>
                </a:lnTo>
                <a:lnTo>
                  <a:pt x="6779292" y="6858000"/>
                </a:lnTo>
                <a:lnTo>
                  <a:pt x="0" y="6858000"/>
                </a:lnTo>
                <a:lnTo>
                  <a:pt x="0" y="5943572"/>
                </a:lnTo>
                <a:lnTo>
                  <a:pt x="0" y="2286000"/>
                </a:lnTo>
                <a:lnTo>
                  <a:pt x="0" y="762028"/>
                </a:lnTo>
                <a:cubicBezTo>
                  <a:pt x="0" y="341172"/>
                  <a:pt x="341172" y="0"/>
                  <a:pt x="762028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608BA72E-4191-93ED-5F63-70653097CA4A}"/>
              </a:ext>
            </a:extLst>
          </p:cNvPr>
          <p:cNvSpPr/>
          <p:nvPr userDrawn="1"/>
        </p:nvSpPr>
        <p:spPr>
          <a:xfrm>
            <a:off x="10632898" y="-19404"/>
            <a:ext cx="1559102" cy="1924468"/>
          </a:xfrm>
          <a:custGeom>
            <a:avLst/>
            <a:gdLst>
              <a:gd name="connsiteX0" fmla="*/ 46683 w 1559102"/>
              <a:gd name="connsiteY0" fmla="*/ 0 h 1924468"/>
              <a:gd name="connsiteX1" fmla="*/ 648526 w 1559102"/>
              <a:gd name="connsiteY1" fmla="*/ 0 h 1924468"/>
              <a:gd name="connsiteX2" fmla="*/ 618867 w 1559102"/>
              <a:gd name="connsiteY2" fmla="*/ 81034 h 1924468"/>
              <a:gd name="connsiteX3" fmla="*/ 574909 w 1559102"/>
              <a:gd name="connsiteY3" fmla="*/ 371792 h 1924468"/>
              <a:gd name="connsiteX4" fmla="*/ 1552675 w 1559102"/>
              <a:gd name="connsiteY4" fmla="*/ 1349558 h 1924468"/>
              <a:gd name="connsiteX5" fmla="*/ 1559102 w 1559102"/>
              <a:gd name="connsiteY5" fmla="*/ 1349233 h 1924468"/>
              <a:gd name="connsiteX6" fmla="*/ 1559102 w 1559102"/>
              <a:gd name="connsiteY6" fmla="*/ 1924144 h 1924468"/>
              <a:gd name="connsiteX7" fmla="*/ 1552676 w 1559102"/>
              <a:gd name="connsiteY7" fmla="*/ 1924468 h 1924468"/>
              <a:gd name="connsiteX8" fmla="*/ 0 w 1559102"/>
              <a:gd name="connsiteY8" fmla="*/ 371793 h 1924468"/>
              <a:gd name="connsiteX9" fmla="*/ 31545 w 1559102"/>
              <a:gd name="connsiteY9" fmla="*/ 58874 h 19244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59102" h="1924468">
                <a:moveTo>
                  <a:pt x="46683" y="0"/>
                </a:moveTo>
                <a:lnTo>
                  <a:pt x="648526" y="0"/>
                </a:lnTo>
                <a:lnTo>
                  <a:pt x="618867" y="81034"/>
                </a:lnTo>
                <a:cubicBezTo>
                  <a:pt x="590299" y="172884"/>
                  <a:pt x="574909" y="270541"/>
                  <a:pt x="574909" y="371792"/>
                </a:cubicBezTo>
                <a:cubicBezTo>
                  <a:pt x="574909" y="911797"/>
                  <a:pt x="1012670" y="1349558"/>
                  <a:pt x="1552675" y="1349558"/>
                </a:cubicBezTo>
                <a:lnTo>
                  <a:pt x="1559102" y="1349233"/>
                </a:lnTo>
                <a:lnTo>
                  <a:pt x="1559102" y="1924144"/>
                </a:lnTo>
                <a:lnTo>
                  <a:pt x="1552676" y="1924468"/>
                </a:lnTo>
                <a:cubicBezTo>
                  <a:pt x="695157" y="1924468"/>
                  <a:pt x="0" y="1229312"/>
                  <a:pt x="0" y="371793"/>
                </a:cubicBezTo>
                <a:cubicBezTo>
                  <a:pt x="0" y="264603"/>
                  <a:pt x="10862" y="159950"/>
                  <a:pt x="31545" y="58874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6014405" y="2891616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527130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12813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Google Shape;317;p72">
            <a:extLst>
              <a:ext uri="{FF2B5EF4-FFF2-40B4-BE49-F238E27FC236}">
                <a16:creationId xmlns:a16="http://schemas.microsoft.com/office/drawing/2014/main" id="{B0B24D8E-B221-BCE6-395F-D87EA1F5C0D0}"/>
              </a:ext>
            </a:extLst>
          </p:cNvPr>
          <p:cNvSpPr/>
          <p:nvPr userDrawn="1"/>
        </p:nvSpPr>
        <p:spPr>
          <a:xfrm>
            <a:off x="2786" y="1967"/>
            <a:ext cx="12189215" cy="5132220"/>
          </a:xfrm>
          <a:custGeom>
            <a:avLst/>
            <a:gdLst/>
            <a:ahLst/>
            <a:cxnLst/>
            <a:rect l="l" t="t" r="r" b="b"/>
            <a:pathLst>
              <a:path w="9143999" h="4734198" extrusionOk="0">
                <a:moveTo>
                  <a:pt x="0" y="0"/>
                </a:moveTo>
                <a:lnTo>
                  <a:pt x="9143999" y="0"/>
                </a:lnTo>
                <a:lnTo>
                  <a:pt x="9143999" y="4734198"/>
                </a:lnTo>
                <a:lnTo>
                  <a:pt x="5973097" y="4719484"/>
                </a:lnTo>
                <a:cubicBezTo>
                  <a:pt x="5685504" y="4751439"/>
                  <a:pt x="5493774" y="4650657"/>
                  <a:pt x="5375788" y="4409767"/>
                </a:cubicBezTo>
                <a:lnTo>
                  <a:pt x="3554362" y="1113503"/>
                </a:lnTo>
                <a:cubicBezTo>
                  <a:pt x="3419169" y="857864"/>
                  <a:pt x="3202858" y="771832"/>
                  <a:pt x="2993923" y="766916"/>
                </a:cubicBezTo>
                <a:lnTo>
                  <a:pt x="0" y="766916"/>
                </a:ln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sym typeface="Arial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480380" y="3771292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7C6E95C-F9B2-31ED-1261-5E82E52231DC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09622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A5D7575C-B496-5E9E-184F-798D6AB25EFD}"/>
              </a:ext>
            </a:extLst>
          </p:cNvPr>
          <p:cNvSpPr/>
          <p:nvPr userDrawn="1"/>
        </p:nvSpPr>
        <p:spPr bwMode="auto">
          <a:xfrm>
            <a:off x="0" y="866515"/>
            <a:ext cx="12196619" cy="45719"/>
          </a:xfrm>
          <a:prstGeom prst="rect">
            <a:avLst/>
          </a:prstGeom>
          <a:solidFill>
            <a:schemeClr val="tx2"/>
          </a:solidFill>
          <a:ln w="9525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FBBBD95-D765-E756-7A0B-F06A9E93F730}"/>
              </a:ext>
            </a:extLst>
          </p:cNvPr>
          <p:cNvSpPr/>
          <p:nvPr userDrawn="1"/>
        </p:nvSpPr>
        <p:spPr bwMode="auto">
          <a:xfrm>
            <a:off x="-4620" y="1"/>
            <a:ext cx="12196619" cy="883919"/>
          </a:xfrm>
          <a:prstGeom prst="rect">
            <a:avLst/>
          </a:prstGeom>
          <a:gradFill>
            <a:gsLst>
              <a:gs pos="0">
                <a:schemeClr val="accent1">
                  <a:lumMod val="20000"/>
                  <a:lumOff val="80000"/>
                </a:schemeClr>
              </a:gs>
              <a:gs pos="100000">
                <a:schemeClr val="accent2">
                  <a:lumMod val="20000"/>
                  <a:lumOff val="80000"/>
                </a:schemeClr>
              </a:gs>
            </a:gsLst>
            <a:lin ang="2700000" scaled="0"/>
          </a:gradFill>
          <a:ln w="9525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63539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accent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74725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lnSpc>
                <a:spcPct val="100000"/>
              </a:lnSpc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697C8A63-3D04-EA10-B733-AE72D467BD3F}"/>
              </a:ext>
            </a:extLst>
          </p:cNvPr>
          <p:cNvCxnSpPr>
            <a:cxnSpLocks/>
          </p:cNvCxnSpPr>
          <p:nvPr userDrawn="1"/>
        </p:nvCxnSpPr>
        <p:spPr>
          <a:xfrm>
            <a:off x="-2309" y="6629400"/>
            <a:ext cx="12196619" cy="0"/>
          </a:xfrm>
          <a:prstGeom prst="line">
            <a:avLst/>
          </a:prstGeom>
          <a:ln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72C63254-3ED3-7F4A-55ED-77911D6BFA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23069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Google Shape;126;p8">
            <a:extLst>
              <a:ext uri="{FF2B5EF4-FFF2-40B4-BE49-F238E27FC236}">
                <a16:creationId xmlns:a16="http://schemas.microsoft.com/office/drawing/2014/main" id="{42B1C2E2-410D-4178-8707-30E8CFC13D66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AB4896-8513-49B3-883C-8C8E512092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9099" y="2694530"/>
            <a:ext cx="11329205" cy="734470"/>
          </a:xfrm>
          <a:prstGeom prst="rect">
            <a:avLst/>
          </a:prstGeom>
        </p:spPr>
        <p:txBody>
          <a:bodyPr vert="horz"/>
          <a:lstStyle>
            <a:lvl1pPr>
              <a:defRPr sz="5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01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E0ED0066-C241-49ED-89D6-10AD2C4C22C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099" y="3521558"/>
            <a:ext cx="11283166" cy="43492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800" b="1">
                <a:solidFill>
                  <a:schemeClr val="accent1"/>
                </a:solidFill>
                <a:latin typeface="+mn-lt"/>
              </a:defRPr>
            </a:lvl1pPr>
            <a:lvl2pPr marL="457200" indent="0">
              <a:buFontTx/>
              <a:buNone/>
              <a:defRPr b="1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Divider title</a:t>
            </a:r>
          </a:p>
        </p:txBody>
      </p:sp>
    </p:spTree>
    <p:extLst>
      <p:ext uri="{BB962C8B-B14F-4D97-AF65-F5344CB8AC3E}">
        <p14:creationId xmlns:p14="http://schemas.microsoft.com/office/powerpoint/2010/main" val="197301367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70" imgH="469" progId="TCLayout.ActiveDocument.1">
                  <p:embed/>
                </p:oleObj>
              </mc:Choice>
              <mc:Fallback>
                <p:oleObj name="think-cell Slide" r:id="rId7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49" r:id="rId3"/>
    <p:sldLayoutId id="2147483655" r:id="rId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7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A5105CF-6585-0161-5DFD-8777E95E2A2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46F86BE5-8967-F060-575F-133763777D4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6F86BE5-8967-F060-575F-133763777D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02EB4A6-B0E8-F31E-CD64-8BA36FACD8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able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F2CF2E27-498B-DC47-B031-31AA067E68D9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1</a:t>
            </a:fld>
            <a:endParaRPr lang="en-US" sz="1200" dirty="0">
              <a:solidFill>
                <a:schemeClr val="bg1"/>
              </a:solidFill>
            </a:endParaRPr>
          </a:p>
        </p:txBody>
      </p:sp>
      <p:cxnSp>
        <p:nvCxnSpPr>
          <p:cNvPr id="13" name="Shape0_20210625_174740">
            <a:extLst>
              <a:ext uri="{FF2B5EF4-FFF2-40B4-BE49-F238E27FC236}">
                <a16:creationId xmlns:a16="http://schemas.microsoft.com/office/drawing/2014/main" id="{2C1B5A77-74A6-EDE3-4A68-577A17D4E1CD}"/>
              </a:ext>
            </a:extLst>
          </p:cNvPr>
          <p:cNvCxnSpPr>
            <a:cxnSpLocks/>
          </p:cNvCxnSpPr>
          <p:nvPr/>
        </p:nvCxnSpPr>
        <p:spPr>
          <a:xfrm>
            <a:off x="4265335" y="2033535"/>
            <a:ext cx="0" cy="4147346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hape1_20220317_110454">
            <a:extLst>
              <a:ext uri="{FF2B5EF4-FFF2-40B4-BE49-F238E27FC236}">
                <a16:creationId xmlns:a16="http://schemas.microsoft.com/office/drawing/2014/main" id="{8E6B2B0B-1FF7-D3B7-1064-3A868EE61D57}"/>
              </a:ext>
            </a:extLst>
          </p:cNvPr>
          <p:cNvCxnSpPr>
            <a:cxnSpLocks/>
          </p:cNvCxnSpPr>
          <p:nvPr/>
        </p:nvCxnSpPr>
        <p:spPr>
          <a:xfrm>
            <a:off x="407823" y="2021182"/>
            <a:ext cx="1137635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hape1_20220317_110454">
            <a:extLst>
              <a:ext uri="{FF2B5EF4-FFF2-40B4-BE49-F238E27FC236}">
                <a16:creationId xmlns:a16="http://schemas.microsoft.com/office/drawing/2014/main" id="{F77D33FC-4D5F-454E-FB59-D62046045DDC}"/>
              </a:ext>
            </a:extLst>
          </p:cNvPr>
          <p:cNvCxnSpPr>
            <a:cxnSpLocks/>
          </p:cNvCxnSpPr>
          <p:nvPr/>
        </p:nvCxnSpPr>
        <p:spPr>
          <a:xfrm>
            <a:off x="407823" y="6180881"/>
            <a:ext cx="1137635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Rectangle 4">
            <a:extLst>
              <a:ext uri="{FF2B5EF4-FFF2-40B4-BE49-F238E27FC236}">
                <a16:creationId xmlns:a16="http://schemas.microsoft.com/office/drawing/2014/main" id="{0D0B3025-FB39-73A4-0CFB-D30344FFC41E}"/>
              </a:ext>
            </a:extLst>
          </p:cNvPr>
          <p:cNvSpPr/>
          <p:nvPr/>
        </p:nvSpPr>
        <p:spPr>
          <a:xfrm>
            <a:off x="808895" y="1931884"/>
            <a:ext cx="3360037" cy="18356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defTabSz="424830">
              <a:defRPr/>
            </a:pPr>
            <a:endParaRPr lang="en-IN" sz="1487" dirty="0">
              <a:solidFill>
                <a:prstClr val="white"/>
              </a:solidFill>
              <a:cs typeface="Arial" panose="020B0604020202020204" pitchFamily="34" charset="0"/>
            </a:endParaRPr>
          </a:p>
        </p:txBody>
      </p:sp>
      <p:sp>
        <p:nvSpPr>
          <p:cNvPr id="8" name="Shape0_20220512_134702">
            <a:extLst>
              <a:ext uri="{FF2B5EF4-FFF2-40B4-BE49-F238E27FC236}">
                <a16:creationId xmlns:a16="http://schemas.microsoft.com/office/drawing/2014/main" id="{96CE1BED-5C52-884C-3D6D-C974C22B8FD0}"/>
              </a:ext>
            </a:extLst>
          </p:cNvPr>
          <p:cNvSpPr/>
          <p:nvPr/>
        </p:nvSpPr>
        <p:spPr>
          <a:xfrm>
            <a:off x="812446" y="1156607"/>
            <a:ext cx="3352935" cy="60372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471" b="1" dirty="0">
                <a:solidFill>
                  <a:srgbClr val="F8F8F8"/>
                </a:solidFill>
                <a:cs typeface="Arial" panose="020B0604020202020204" pitchFamily="34" charset="0"/>
              </a:rPr>
              <a:t>Text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BAE6CF6-5E41-FCFC-4354-EC9532D9C951}"/>
              </a:ext>
            </a:extLst>
          </p:cNvPr>
          <p:cNvSpPr/>
          <p:nvPr/>
        </p:nvSpPr>
        <p:spPr>
          <a:xfrm>
            <a:off x="4419610" y="1931884"/>
            <a:ext cx="3360037" cy="18356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defTabSz="424830">
              <a:defRPr/>
            </a:pPr>
            <a:endParaRPr lang="en-IN" sz="1487" dirty="0">
              <a:solidFill>
                <a:prstClr val="white"/>
              </a:solidFill>
              <a:cs typeface="Arial" panose="020B0604020202020204" pitchFamily="34" charset="0"/>
            </a:endParaRPr>
          </a:p>
        </p:txBody>
      </p:sp>
      <p:sp>
        <p:nvSpPr>
          <p:cNvPr id="12" name="Shape1_20220512_134702">
            <a:extLst>
              <a:ext uri="{FF2B5EF4-FFF2-40B4-BE49-F238E27FC236}">
                <a16:creationId xmlns:a16="http://schemas.microsoft.com/office/drawing/2014/main" id="{80CD907A-E4E1-ADB6-3E93-C28C72A2B593}"/>
              </a:ext>
            </a:extLst>
          </p:cNvPr>
          <p:cNvSpPr/>
          <p:nvPr/>
        </p:nvSpPr>
        <p:spPr>
          <a:xfrm>
            <a:off x="4423156" y="1156607"/>
            <a:ext cx="3352935" cy="60372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471" b="1" dirty="0">
                <a:solidFill>
                  <a:srgbClr val="F8F8F8"/>
                </a:solidFill>
                <a:cs typeface="Arial" panose="020B0604020202020204" pitchFamily="34" charset="0"/>
              </a:rPr>
              <a:t>Text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67600FFD-97E7-7994-2211-0B5B2E5654B7}"/>
              </a:ext>
            </a:extLst>
          </p:cNvPr>
          <p:cNvSpPr/>
          <p:nvPr/>
        </p:nvSpPr>
        <p:spPr>
          <a:xfrm>
            <a:off x="7999587" y="1931884"/>
            <a:ext cx="3360037" cy="18356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defTabSz="424830">
              <a:defRPr/>
            </a:pPr>
            <a:endParaRPr lang="en-IN" sz="1487" dirty="0">
              <a:solidFill>
                <a:prstClr val="white"/>
              </a:solidFill>
              <a:cs typeface="Arial" panose="020B0604020202020204" pitchFamily="34" charset="0"/>
            </a:endParaRPr>
          </a:p>
        </p:txBody>
      </p:sp>
      <p:sp>
        <p:nvSpPr>
          <p:cNvPr id="21" name="Shape1_20220512_134702">
            <a:extLst>
              <a:ext uri="{FF2B5EF4-FFF2-40B4-BE49-F238E27FC236}">
                <a16:creationId xmlns:a16="http://schemas.microsoft.com/office/drawing/2014/main" id="{1332E149-7659-AB4F-0C98-630435081EE6}"/>
              </a:ext>
            </a:extLst>
          </p:cNvPr>
          <p:cNvSpPr/>
          <p:nvPr/>
        </p:nvSpPr>
        <p:spPr>
          <a:xfrm>
            <a:off x="8003133" y="1156607"/>
            <a:ext cx="3352935" cy="60372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471" b="1" dirty="0">
                <a:solidFill>
                  <a:srgbClr val="F8F8F8"/>
                </a:solidFill>
                <a:cs typeface="Arial" panose="020B0604020202020204" pitchFamily="34" charset="0"/>
              </a:rPr>
              <a:t>Text</a:t>
            </a:r>
          </a:p>
        </p:txBody>
      </p:sp>
      <p:cxnSp>
        <p:nvCxnSpPr>
          <p:cNvPr id="24" name="Shape0_20210625_174740">
            <a:extLst>
              <a:ext uri="{FF2B5EF4-FFF2-40B4-BE49-F238E27FC236}">
                <a16:creationId xmlns:a16="http://schemas.microsoft.com/office/drawing/2014/main" id="{AFF5D7EC-DEE1-FEBB-9F85-95FFFEAF6882}"/>
              </a:ext>
            </a:extLst>
          </p:cNvPr>
          <p:cNvCxnSpPr>
            <a:cxnSpLocks/>
          </p:cNvCxnSpPr>
          <p:nvPr/>
        </p:nvCxnSpPr>
        <p:spPr>
          <a:xfrm>
            <a:off x="7874314" y="2033535"/>
            <a:ext cx="0" cy="4147346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7" name="Group 26">
            <a:extLst>
              <a:ext uri="{FF2B5EF4-FFF2-40B4-BE49-F238E27FC236}">
                <a16:creationId xmlns:a16="http://schemas.microsoft.com/office/drawing/2014/main" id="{505CD915-3921-0387-A288-B9345B08D548}"/>
              </a:ext>
            </a:extLst>
          </p:cNvPr>
          <p:cNvGrpSpPr/>
          <p:nvPr/>
        </p:nvGrpSpPr>
        <p:grpSpPr>
          <a:xfrm>
            <a:off x="770186" y="2250706"/>
            <a:ext cx="10674450" cy="567236"/>
            <a:chOff x="770186" y="2633440"/>
            <a:chExt cx="10674450" cy="567236"/>
          </a:xfrm>
        </p:grpSpPr>
        <p:sp>
          <p:nvSpPr>
            <p:cNvPr id="10" name="Text Placeholder 3">
              <a:extLst>
                <a:ext uri="{FF2B5EF4-FFF2-40B4-BE49-F238E27FC236}">
                  <a16:creationId xmlns:a16="http://schemas.microsoft.com/office/drawing/2014/main" id="{2C294508-EB38-4F99-F289-F874CAAF397C}"/>
                </a:ext>
              </a:extLst>
            </p:cNvPr>
            <p:cNvSpPr txBox="1">
              <a:spLocks/>
            </p:cNvSpPr>
            <p:nvPr/>
          </p:nvSpPr>
          <p:spPr>
            <a:xfrm>
              <a:off x="4369510" y="2974332"/>
              <a:ext cx="3495149" cy="22634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L="457200" marR="0" lvl="0" indent="-317500" algn="l" rtl="0">
                <a:lnSpc>
                  <a:spcPct val="115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AD1F25"/>
                </a:buClr>
                <a:buSzPts val="1400"/>
                <a:buFont typeface="Roboto Light"/>
                <a:buChar char="⪢"/>
                <a:defRPr sz="1400" b="0" i="0" u="none" strike="noStrike" cap="none">
                  <a:solidFill>
                    <a:schemeClr val="dk2"/>
                  </a:solidFill>
                  <a:latin typeface="Roboto Lt"/>
                  <a:ea typeface="Roboto Lt"/>
                  <a:cs typeface="Roboto Lt"/>
                  <a:sym typeface="Roboto Light"/>
                </a:defRPr>
              </a:lvl1pPr>
              <a:lvl2pPr marL="914400" marR="0" lvl="1" indent="-304800" algn="l" rtl="0">
                <a:lnSpc>
                  <a:spcPct val="115000"/>
                </a:lnSpc>
                <a:spcBef>
                  <a:spcPts val="1600"/>
                </a:spcBef>
                <a:spcAft>
                  <a:spcPts val="0"/>
                </a:spcAft>
                <a:buClr>
                  <a:srgbClr val="AD1F25"/>
                </a:buClr>
                <a:buSzPts val="1200"/>
                <a:buFont typeface="Roboto Light"/>
                <a:buChar char="⪢"/>
                <a:defRPr sz="1200" b="0" i="0" u="none" strike="noStrike" cap="none">
                  <a:solidFill>
                    <a:schemeClr val="dk2"/>
                  </a:solidFill>
                  <a:latin typeface="Roboto Lt"/>
                  <a:ea typeface="Roboto Lt"/>
                  <a:cs typeface="Roboto Lt"/>
                  <a:sym typeface="Roboto Light"/>
                </a:defRPr>
              </a:lvl2pPr>
              <a:lvl3pPr marL="1371600" marR="0" lvl="2" indent="-304800" algn="l" rtl="0">
                <a:lnSpc>
                  <a:spcPct val="115000"/>
                </a:lnSpc>
                <a:spcBef>
                  <a:spcPts val="1600"/>
                </a:spcBef>
                <a:spcAft>
                  <a:spcPts val="0"/>
                </a:spcAft>
                <a:buClr>
                  <a:srgbClr val="AD1F25"/>
                </a:buClr>
                <a:buSzPts val="1200"/>
                <a:buFont typeface="Roboto Light"/>
                <a:buChar char="⪢"/>
                <a:defRPr sz="1200" b="0" i="0" u="none" strike="noStrike" cap="none">
                  <a:solidFill>
                    <a:schemeClr val="dk2"/>
                  </a:solidFill>
                  <a:latin typeface="Roboto Lt"/>
                  <a:ea typeface="Roboto Lt"/>
                  <a:cs typeface="Roboto Lt"/>
                  <a:sym typeface="Roboto Light"/>
                </a:defRPr>
              </a:lvl3pPr>
              <a:lvl4pPr marL="1828800" marR="0" lvl="3" indent="-304800" algn="l" rtl="0">
                <a:lnSpc>
                  <a:spcPct val="115000"/>
                </a:lnSpc>
                <a:spcBef>
                  <a:spcPts val="1600"/>
                </a:spcBef>
                <a:spcAft>
                  <a:spcPts val="0"/>
                </a:spcAft>
                <a:buClr>
                  <a:srgbClr val="AD1F25"/>
                </a:buClr>
                <a:buSzPts val="1200"/>
                <a:buFont typeface="Roboto Light"/>
                <a:buChar char="⪢"/>
                <a:defRPr sz="1200" b="0" i="0" u="none" strike="noStrike" cap="none">
                  <a:solidFill>
                    <a:schemeClr val="dk2"/>
                  </a:solidFill>
                  <a:latin typeface="Roboto Lt"/>
                  <a:ea typeface="Roboto Lt"/>
                  <a:cs typeface="Roboto Lt"/>
                  <a:sym typeface="Roboto Light"/>
                </a:defRPr>
              </a:lvl4pPr>
              <a:lvl5pPr marL="2286000" marR="0" lvl="4" indent="-304800" algn="l" rtl="0">
                <a:lnSpc>
                  <a:spcPct val="115000"/>
                </a:lnSpc>
                <a:spcBef>
                  <a:spcPts val="1600"/>
                </a:spcBef>
                <a:spcAft>
                  <a:spcPts val="0"/>
                </a:spcAft>
                <a:buClr>
                  <a:srgbClr val="AD1F25"/>
                </a:buClr>
                <a:buSzPts val="1200"/>
                <a:buFont typeface="Roboto Light"/>
                <a:buChar char="⪢"/>
                <a:defRPr sz="1200" b="0" i="0" u="none" strike="noStrike" cap="none">
                  <a:solidFill>
                    <a:schemeClr val="dk2"/>
                  </a:solidFill>
                  <a:latin typeface="Roboto Lt"/>
                  <a:ea typeface="Roboto Lt"/>
                  <a:cs typeface="Roboto Lt"/>
                  <a:sym typeface="Roboto Light"/>
                </a:defRPr>
              </a:lvl5pPr>
              <a:lvl6pPr marL="2743200" marR="0" lvl="5" indent="-304800" algn="l" rtl="0">
                <a:lnSpc>
                  <a:spcPct val="115000"/>
                </a:lnSpc>
                <a:spcBef>
                  <a:spcPts val="1600"/>
                </a:spcBef>
                <a:spcAft>
                  <a:spcPts val="0"/>
                </a:spcAft>
                <a:buClr>
                  <a:srgbClr val="AD1F25"/>
                </a:buClr>
                <a:buSzPts val="1200"/>
                <a:buFont typeface="Roboto Light"/>
                <a:buChar char="⪢"/>
                <a:defRPr sz="1200" b="0" i="0" u="none" strike="noStrike" cap="none">
                  <a:solidFill>
                    <a:schemeClr val="dk2"/>
                  </a:solidFill>
                  <a:latin typeface="Roboto Lt"/>
                  <a:ea typeface="Roboto Lt"/>
                  <a:cs typeface="Roboto Lt"/>
                  <a:sym typeface="Roboto Light"/>
                </a:defRPr>
              </a:lvl6pPr>
              <a:lvl7pPr marL="3200400" marR="0" lvl="6" indent="-304800" algn="l" rtl="0">
                <a:lnSpc>
                  <a:spcPct val="115000"/>
                </a:lnSpc>
                <a:spcBef>
                  <a:spcPts val="1600"/>
                </a:spcBef>
                <a:spcAft>
                  <a:spcPts val="0"/>
                </a:spcAft>
                <a:buClr>
                  <a:srgbClr val="AD1F25"/>
                </a:buClr>
                <a:buSzPts val="1200"/>
                <a:buFont typeface="Roboto Light"/>
                <a:buChar char="⪢"/>
                <a:defRPr sz="1200" b="0" i="0" u="none" strike="noStrike" cap="none">
                  <a:solidFill>
                    <a:schemeClr val="dk2"/>
                  </a:solidFill>
                  <a:latin typeface="Roboto Lt"/>
                  <a:ea typeface="Roboto Lt"/>
                  <a:cs typeface="Roboto Lt"/>
                  <a:sym typeface="Roboto Light"/>
                </a:defRPr>
              </a:lvl7pPr>
              <a:lvl8pPr marL="3657600" marR="0" lvl="7" indent="-304800" algn="l" rtl="0">
                <a:lnSpc>
                  <a:spcPct val="115000"/>
                </a:lnSpc>
                <a:spcBef>
                  <a:spcPts val="1600"/>
                </a:spcBef>
                <a:spcAft>
                  <a:spcPts val="0"/>
                </a:spcAft>
                <a:buClr>
                  <a:srgbClr val="AD1F25"/>
                </a:buClr>
                <a:buSzPts val="1200"/>
                <a:buFont typeface="Roboto Light"/>
                <a:buChar char="⪢"/>
                <a:defRPr sz="1200" b="0" i="0" u="none" strike="noStrike" cap="none">
                  <a:solidFill>
                    <a:schemeClr val="dk2"/>
                  </a:solidFill>
                  <a:latin typeface="Roboto Lt"/>
                  <a:ea typeface="Roboto Lt"/>
                  <a:cs typeface="Roboto Lt"/>
                  <a:sym typeface="Roboto Light"/>
                </a:defRPr>
              </a:lvl8pPr>
              <a:lvl9pPr marL="4114800" marR="0" lvl="8" indent="-304800" algn="l" rtl="0">
                <a:lnSpc>
                  <a:spcPct val="115000"/>
                </a:lnSpc>
                <a:spcBef>
                  <a:spcPts val="1600"/>
                </a:spcBef>
                <a:spcAft>
                  <a:spcPts val="1600"/>
                </a:spcAft>
                <a:buClr>
                  <a:srgbClr val="AD1F25"/>
                </a:buClr>
                <a:buSzPts val="1200"/>
                <a:buFont typeface="Roboto Light"/>
                <a:buChar char="⪢"/>
                <a:defRPr sz="1200" b="0" i="0" u="none" strike="noStrike" cap="none">
                  <a:solidFill>
                    <a:schemeClr val="dk2"/>
                  </a:solidFill>
                  <a:latin typeface="Roboto Lt"/>
                  <a:ea typeface="Roboto Lt"/>
                  <a:cs typeface="Roboto Lt"/>
                  <a:sym typeface="Roboto Light"/>
                </a:defRPr>
              </a:lvl9pPr>
            </a:lstStyle>
            <a:p>
              <a:pPr marL="0" indent="0" algn="ct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r>
                <a:rPr lang="en-US" sz="1471" dirty="0">
                  <a:solidFill>
                    <a:schemeClr val="tx1"/>
                  </a:solidFill>
                  <a:latin typeface="+mn-lt"/>
                  <a:cs typeface="Arial" panose="020B0604020202020204" pitchFamily="34" charset="0"/>
                </a:rPr>
                <a:t>Insert Text Here</a:t>
              </a: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7CD3AB5F-541B-9F17-1B90-1E03522D3074}"/>
                </a:ext>
              </a:extLst>
            </p:cNvPr>
            <p:cNvSpPr>
              <a:spLocks/>
            </p:cNvSpPr>
            <p:nvPr/>
          </p:nvSpPr>
          <p:spPr>
            <a:xfrm>
              <a:off x="4369510" y="2633440"/>
              <a:ext cx="3495149" cy="22634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b" anchorCtr="0">
              <a:spAutoFit/>
            </a:bodyPr>
            <a:lstStyle/>
            <a:p>
              <a:pPr algn="ctr" defTabSz="866881">
                <a:buClr>
                  <a:srgbClr val="000000"/>
                </a:buClr>
                <a:defRPr/>
              </a:pPr>
              <a:r>
                <a:rPr lang="en-US" sz="1471" b="1" kern="0" dirty="0">
                  <a:solidFill>
                    <a:schemeClr val="tx1"/>
                  </a:solidFill>
                  <a:ea typeface="Roboto Lt" pitchFamily="2" charset="0"/>
                  <a:cs typeface="Arial" panose="020B0604020202020204" pitchFamily="34" charset="0"/>
                  <a:sym typeface="Arial"/>
                </a:rPr>
                <a:t>Title</a:t>
              </a:r>
            </a:p>
          </p:txBody>
        </p:sp>
        <p:sp>
          <p:nvSpPr>
            <p:cNvPr id="19" name="Text Placeholder 3">
              <a:extLst>
                <a:ext uri="{FF2B5EF4-FFF2-40B4-BE49-F238E27FC236}">
                  <a16:creationId xmlns:a16="http://schemas.microsoft.com/office/drawing/2014/main" id="{F56D9F59-F3FF-0B34-E0BF-30287FFA5E3F}"/>
                </a:ext>
              </a:extLst>
            </p:cNvPr>
            <p:cNvSpPr txBox="1">
              <a:spLocks/>
            </p:cNvSpPr>
            <p:nvPr/>
          </p:nvSpPr>
          <p:spPr>
            <a:xfrm>
              <a:off x="7949487" y="2974332"/>
              <a:ext cx="3495149" cy="22634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L="457200" marR="0" lvl="0" indent="-317500" algn="l" rtl="0">
                <a:lnSpc>
                  <a:spcPct val="115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AD1F25"/>
                </a:buClr>
                <a:buSzPts val="1400"/>
                <a:buFont typeface="Roboto Light"/>
                <a:buChar char="⪢"/>
                <a:defRPr sz="1400" b="0" i="0" u="none" strike="noStrike" cap="none">
                  <a:solidFill>
                    <a:schemeClr val="dk2"/>
                  </a:solidFill>
                  <a:latin typeface="Roboto Lt"/>
                  <a:ea typeface="Roboto Lt"/>
                  <a:cs typeface="Roboto Lt"/>
                  <a:sym typeface="Roboto Light"/>
                </a:defRPr>
              </a:lvl1pPr>
              <a:lvl2pPr marL="914400" marR="0" lvl="1" indent="-304800" algn="l" rtl="0">
                <a:lnSpc>
                  <a:spcPct val="115000"/>
                </a:lnSpc>
                <a:spcBef>
                  <a:spcPts val="1600"/>
                </a:spcBef>
                <a:spcAft>
                  <a:spcPts val="0"/>
                </a:spcAft>
                <a:buClr>
                  <a:srgbClr val="AD1F25"/>
                </a:buClr>
                <a:buSzPts val="1200"/>
                <a:buFont typeface="Roboto Light"/>
                <a:buChar char="⪢"/>
                <a:defRPr sz="1200" b="0" i="0" u="none" strike="noStrike" cap="none">
                  <a:solidFill>
                    <a:schemeClr val="dk2"/>
                  </a:solidFill>
                  <a:latin typeface="Roboto Lt"/>
                  <a:ea typeface="Roboto Lt"/>
                  <a:cs typeface="Roboto Lt"/>
                  <a:sym typeface="Roboto Light"/>
                </a:defRPr>
              </a:lvl2pPr>
              <a:lvl3pPr marL="1371600" marR="0" lvl="2" indent="-304800" algn="l" rtl="0">
                <a:lnSpc>
                  <a:spcPct val="115000"/>
                </a:lnSpc>
                <a:spcBef>
                  <a:spcPts val="1600"/>
                </a:spcBef>
                <a:spcAft>
                  <a:spcPts val="0"/>
                </a:spcAft>
                <a:buClr>
                  <a:srgbClr val="AD1F25"/>
                </a:buClr>
                <a:buSzPts val="1200"/>
                <a:buFont typeface="Roboto Light"/>
                <a:buChar char="⪢"/>
                <a:defRPr sz="1200" b="0" i="0" u="none" strike="noStrike" cap="none">
                  <a:solidFill>
                    <a:schemeClr val="dk2"/>
                  </a:solidFill>
                  <a:latin typeface="Roboto Lt"/>
                  <a:ea typeface="Roboto Lt"/>
                  <a:cs typeface="Roboto Lt"/>
                  <a:sym typeface="Roboto Light"/>
                </a:defRPr>
              </a:lvl3pPr>
              <a:lvl4pPr marL="1828800" marR="0" lvl="3" indent="-304800" algn="l" rtl="0">
                <a:lnSpc>
                  <a:spcPct val="115000"/>
                </a:lnSpc>
                <a:spcBef>
                  <a:spcPts val="1600"/>
                </a:spcBef>
                <a:spcAft>
                  <a:spcPts val="0"/>
                </a:spcAft>
                <a:buClr>
                  <a:srgbClr val="AD1F25"/>
                </a:buClr>
                <a:buSzPts val="1200"/>
                <a:buFont typeface="Roboto Light"/>
                <a:buChar char="⪢"/>
                <a:defRPr sz="1200" b="0" i="0" u="none" strike="noStrike" cap="none">
                  <a:solidFill>
                    <a:schemeClr val="dk2"/>
                  </a:solidFill>
                  <a:latin typeface="Roboto Lt"/>
                  <a:ea typeface="Roboto Lt"/>
                  <a:cs typeface="Roboto Lt"/>
                  <a:sym typeface="Roboto Light"/>
                </a:defRPr>
              </a:lvl4pPr>
              <a:lvl5pPr marL="2286000" marR="0" lvl="4" indent="-304800" algn="l" rtl="0">
                <a:lnSpc>
                  <a:spcPct val="115000"/>
                </a:lnSpc>
                <a:spcBef>
                  <a:spcPts val="1600"/>
                </a:spcBef>
                <a:spcAft>
                  <a:spcPts val="0"/>
                </a:spcAft>
                <a:buClr>
                  <a:srgbClr val="AD1F25"/>
                </a:buClr>
                <a:buSzPts val="1200"/>
                <a:buFont typeface="Roboto Light"/>
                <a:buChar char="⪢"/>
                <a:defRPr sz="1200" b="0" i="0" u="none" strike="noStrike" cap="none">
                  <a:solidFill>
                    <a:schemeClr val="dk2"/>
                  </a:solidFill>
                  <a:latin typeface="Roboto Lt"/>
                  <a:ea typeface="Roboto Lt"/>
                  <a:cs typeface="Roboto Lt"/>
                  <a:sym typeface="Roboto Light"/>
                </a:defRPr>
              </a:lvl5pPr>
              <a:lvl6pPr marL="2743200" marR="0" lvl="5" indent="-304800" algn="l" rtl="0">
                <a:lnSpc>
                  <a:spcPct val="115000"/>
                </a:lnSpc>
                <a:spcBef>
                  <a:spcPts val="1600"/>
                </a:spcBef>
                <a:spcAft>
                  <a:spcPts val="0"/>
                </a:spcAft>
                <a:buClr>
                  <a:srgbClr val="AD1F25"/>
                </a:buClr>
                <a:buSzPts val="1200"/>
                <a:buFont typeface="Roboto Light"/>
                <a:buChar char="⪢"/>
                <a:defRPr sz="1200" b="0" i="0" u="none" strike="noStrike" cap="none">
                  <a:solidFill>
                    <a:schemeClr val="dk2"/>
                  </a:solidFill>
                  <a:latin typeface="Roboto Lt"/>
                  <a:ea typeface="Roboto Lt"/>
                  <a:cs typeface="Roboto Lt"/>
                  <a:sym typeface="Roboto Light"/>
                </a:defRPr>
              </a:lvl6pPr>
              <a:lvl7pPr marL="3200400" marR="0" lvl="6" indent="-304800" algn="l" rtl="0">
                <a:lnSpc>
                  <a:spcPct val="115000"/>
                </a:lnSpc>
                <a:spcBef>
                  <a:spcPts val="1600"/>
                </a:spcBef>
                <a:spcAft>
                  <a:spcPts val="0"/>
                </a:spcAft>
                <a:buClr>
                  <a:srgbClr val="AD1F25"/>
                </a:buClr>
                <a:buSzPts val="1200"/>
                <a:buFont typeface="Roboto Light"/>
                <a:buChar char="⪢"/>
                <a:defRPr sz="1200" b="0" i="0" u="none" strike="noStrike" cap="none">
                  <a:solidFill>
                    <a:schemeClr val="dk2"/>
                  </a:solidFill>
                  <a:latin typeface="Roboto Lt"/>
                  <a:ea typeface="Roboto Lt"/>
                  <a:cs typeface="Roboto Lt"/>
                  <a:sym typeface="Roboto Light"/>
                </a:defRPr>
              </a:lvl7pPr>
              <a:lvl8pPr marL="3657600" marR="0" lvl="7" indent="-304800" algn="l" rtl="0">
                <a:lnSpc>
                  <a:spcPct val="115000"/>
                </a:lnSpc>
                <a:spcBef>
                  <a:spcPts val="1600"/>
                </a:spcBef>
                <a:spcAft>
                  <a:spcPts val="0"/>
                </a:spcAft>
                <a:buClr>
                  <a:srgbClr val="AD1F25"/>
                </a:buClr>
                <a:buSzPts val="1200"/>
                <a:buFont typeface="Roboto Light"/>
                <a:buChar char="⪢"/>
                <a:defRPr sz="1200" b="0" i="0" u="none" strike="noStrike" cap="none">
                  <a:solidFill>
                    <a:schemeClr val="dk2"/>
                  </a:solidFill>
                  <a:latin typeface="Roboto Lt"/>
                  <a:ea typeface="Roboto Lt"/>
                  <a:cs typeface="Roboto Lt"/>
                  <a:sym typeface="Roboto Light"/>
                </a:defRPr>
              </a:lvl8pPr>
              <a:lvl9pPr marL="4114800" marR="0" lvl="8" indent="-304800" algn="l" rtl="0">
                <a:lnSpc>
                  <a:spcPct val="115000"/>
                </a:lnSpc>
                <a:spcBef>
                  <a:spcPts val="1600"/>
                </a:spcBef>
                <a:spcAft>
                  <a:spcPts val="1600"/>
                </a:spcAft>
                <a:buClr>
                  <a:srgbClr val="AD1F25"/>
                </a:buClr>
                <a:buSzPts val="1200"/>
                <a:buFont typeface="Roboto Light"/>
                <a:buChar char="⪢"/>
                <a:defRPr sz="1200" b="0" i="0" u="none" strike="noStrike" cap="none">
                  <a:solidFill>
                    <a:schemeClr val="dk2"/>
                  </a:solidFill>
                  <a:latin typeface="Roboto Lt"/>
                  <a:ea typeface="Roboto Lt"/>
                  <a:cs typeface="Roboto Lt"/>
                  <a:sym typeface="Roboto Light"/>
                </a:defRPr>
              </a:lvl9pPr>
            </a:lstStyle>
            <a:p>
              <a:pPr marL="0" indent="0" algn="ct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r>
                <a:rPr lang="en-US" sz="1471" dirty="0">
                  <a:solidFill>
                    <a:schemeClr val="tx1"/>
                  </a:solidFill>
                  <a:latin typeface="+mn-lt"/>
                  <a:cs typeface="Arial" panose="020B0604020202020204" pitchFamily="34" charset="0"/>
                </a:rPr>
                <a:t>Insert Text Here</a:t>
              </a: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40EDDB79-F428-BC81-BCEE-A6D0DE08CFCE}"/>
                </a:ext>
              </a:extLst>
            </p:cNvPr>
            <p:cNvSpPr>
              <a:spLocks/>
            </p:cNvSpPr>
            <p:nvPr/>
          </p:nvSpPr>
          <p:spPr>
            <a:xfrm>
              <a:off x="7949487" y="2633440"/>
              <a:ext cx="3495149" cy="22634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b" anchorCtr="0">
              <a:spAutoFit/>
            </a:bodyPr>
            <a:lstStyle/>
            <a:p>
              <a:pPr algn="ctr" defTabSz="866881">
                <a:buClr>
                  <a:srgbClr val="000000"/>
                </a:buClr>
                <a:defRPr/>
              </a:pPr>
              <a:r>
                <a:rPr lang="en-US" sz="1471" b="1" kern="0" dirty="0">
                  <a:solidFill>
                    <a:schemeClr val="tx1"/>
                  </a:solidFill>
                  <a:ea typeface="Roboto Lt" pitchFamily="2" charset="0"/>
                  <a:cs typeface="Arial" panose="020B0604020202020204" pitchFamily="34" charset="0"/>
                  <a:sym typeface="Arial"/>
                </a:rPr>
                <a:t>Title</a:t>
              </a:r>
            </a:p>
          </p:txBody>
        </p:sp>
        <p:sp>
          <p:nvSpPr>
            <p:cNvPr id="25" name="Text Placeholder 3">
              <a:extLst>
                <a:ext uri="{FF2B5EF4-FFF2-40B4-BE49-F238E27FC236}">
                  <a16:creationId xmlns:a16="http://schemas.microsoft.com/office/drawing/2014/main" id="{9A24432C-1422-5CA4-D211-1D22F1E39D9D}"/>
                </a:ext>
              </a:extLst>
            </p:cNvPr>
            <p:cNvSpPr txBox="1">
              <a:spLocks/>
            </p:cNvSpPr>
            <p:nvPr/>
          </p:nvSpPr>
          <p:spPr>
            <a:xfrm>
              <a:off x="770186" y="2974332"/>
              <a:ext cx="3495149" cy="22634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L="457200" marR="0" lvl="0" indent="-317500" algn="l" rtl="0">
                <a:lnSpc>
                  <a:spcPct val="115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AD1F25"/>
                </a:buClr>
                <a:buSzPts val="1400"/>
                <a:buFont typeface="Roboto Light"/>
                <a:buChar char="⪢"/>
                <a:defRPr sz="1400" b="0" i="0" u="none" strike="noStrike" cap="none">
                  <a:solidFill>
                    <a:schemeClr val="dk2"/>
                  </a:solidFill>
                  <a:latin typeface="Roboto Lt"/>
                  <a:ea typeface="Roboto Lt"/>
                  <a:cs typeface="Roboto Lt"/>
                  <a:sym typeface="Roboto Light"/>
                </a:defRPr>
              </a:lvl1pPr>
              <a:lvl2pPr marL="914400" marR="0" lvl="1" indent="-304800" algn="l" rtl="0">
                <a:lnSpc>
                  <a:spcPct val="115000"/>
                </a:lnSpc>
                <a:spcBef>
                  <a:spcPts val="1600"/>
                </a:spcBef>
                <a:spcAft>
                  <a:spcPts val="0"/>
                </a:spcAft>
                <a:buClr>
                  <a:srgbClr val="AD1F25"/>
                </a:buClr>
                <a:buSzPts val="1200"/>
                <a:buFont typeface="Roboto Light"/>
                <a:buChar char="⪢"/>
                <a:defRPr sz="1200" b="0" i="0" u="none" strike="noStrike" cap="none">
                  <a:solidFill>
                    <a:schemeClr val="dk2"/>
                  </a:solidFill>
                  <a:latin typeface="Roboto Lt"/>
                  <a:ea typeface="Roboto Lt"/>
                  <a:cs typeface="Roboto Lt"/>
                  <a:sym typeface="Roboto Light"/>
                </a:defRPr>
              </a:lvl2pPr>
              <a:lvl3pPr marL="1371600" marR="0" lvl="2" indent="-304800" algn="l" rtl="0">
                <a:lnSpc>
                  <a:spcPct val="115000"/>
                </a:lnSpc>
                <a:spcBef>
                  <a:spcPts val="1600"/>
                </a:spcBef>
                <a:spcAft>
                  <a:spcPts val="0"/>
                </a:spcAft>
                <a:buClr>
                  <a:srgbClr val="AD1F25"/>
                </a:buClr>
                <a:buSzPts val="1200"/>
                <a:buFont typeface="Roboto Light"/>
                <a:buChar char="⪢"/>
                <a:defRPr sz="1200" b="0" i="0" u="none" strike="noStrike" cap="none">
                  <a:solidFill>
                    <a:schemeClr val="dk2"/>
                  </a:solidFill>
                  <a:latin typeface="Roboto Lt"/>
                  <a:ea typeface="Roboto Lt"/>
                  <a:cs typeface="Roboto Lt"/>
                  <a:sym typeface="Roboto Light"/>
                </a:defRPr>
              </a:lvl3pPr>
              <a:lvl4pPr marL="1828800" marR="0" lvl="3" indent="-304800" algn="l" rtl="0">
                <a:lnSpc>
                  <a:spcPct val="115000"/>
                </a:lnSpc>
                <a:spcBef>
                  <a:spcPts val="1600"/>
                </a:spcBef>
                <a:spcAft>
                  <a:spcPts val="0"/>
                </a:spcAft>
                <a:buClr>
                  <a:srgbClr val="AD1F25"/>
                </a:buClr>
                <a:buSzPts val="1200"/>
                <a:buFont typeface="Roboto Light"/>
                <a:buChar char="⪢"/>
                <a:defRPr sz="1200" b="0" i="0" u="none" strike="noStrike" cap="none">
                  <a:solidFill>
                    <a:schemeClr val="dk2"/>
                  </a:solidFill>
                  <a:latin typeface="Roboto Lt"/>
                  <a:ea typeface="Roboto Lt"/>
                  <a:cs typeface="Roboto Lt"/>
                  <a:sym typeface="Roboto Light"/>
                </a:defRPr>
              </a:lvl4pPr>
              <a:lvl5pPr marL="2286000" marR="0" lvl="4" indent="-304800" algn="l" rtl="0">
                <a:lnSpc>
                  <a:spcPct val="115000"/>
                </a:lnSpc>
                <a:spcBef>
                  <a:spcPts val="1600"/>
                </a:spcBef>
                <a:spcAft>
                  <a:spcPts val="0"/>
                </a:spcAft>
                <a:buClr>
                  <a:srgbClr val="AD1F25"/>
                </a:buClr>
                <a:buSzPts val="1200"/>
                <a:buFont typeface="Roboto Light"/>
                <a:buChar char="⪢"/>
                <a:defRPr sz="1200" b="0" i="0" u="none" strike="noStrike" cap="none">
                  <a:solidFill>
                    <a:schemeClr val="dk2"/>
                  </a:solidFill>
                  <a:latin typeface="Roboto Lt"/>
                  <a:ea typeface="Roboto Lt"/>
                  <a:cs typeface="Roboto Lt"/>
                  <a:sym typeface="Roboto Light"/>
                </a:defRPr>
              </a:lvl5pPr>
              <a:lvl6pPr marL="2743200" marR="0" lvl="5" indent="-304800" algn="l" rtl="0">
                <a:lnSpc>
                  <a:spcPct val="115000"/>
                </a:lnSpc>
                <a:spcBef>
                  <a:spcPts val="1600"/>
                </a:spcBef>
                <a:spcAft>
                  <a:spcPts val="0"/>
                </a:spcAft>
                <a:buClr>
                  <a:srgbClr val="AD1F25"/>
                </a:buClr>
                <a:buSzPts val="1200"/>
                <a:buFont typeface="Roboto Light"/>
                <a:buChar char="⪢"/>
                <a:defRPr sz="1200" b="0" i="0" u="none" strike="noStrike" cap="none">
                  <a:solidFill>
                    <a:schemeClr val="dk2"/>
                  </a:solidFill>
                  <a:latin typeface="Roboto Lt"/>
                  <a:ea typeface="Roboto Lt"/>
                  <a:cs typeface="Roboto Lt"/>
                  <a:sym typeface="Roboto Light"/>
                </a:defRPr>
              </a:lvl6pPr>
              <a:lvl7pPr marL="3200400" marR="0" lvl="6" indent="-304800" algn="l" rtl="0">
                <a:lnSpc>
                  <a:spcPct val="115000"/>
                </a:lnSpc>
                <a:spcBef>
                  <a:spcPts val="1600"/>
                </a:spcBef>
                <a:spcAft>
                  <a:spcPts val="0"/>
                </a:spcAft>
                <a:buClr>
                  <a:srgbClr val="AD1F25"/>
                </a:buClr>
                <a:buSzPts val="1200"/>
                <a:buFont typeface="Roboto Light"/>
                <a:buChar char="⪢"/>
                <a:defRPr sz="1200" b="0" i="0" u="none" strike="noStrike" cap="none">
                  <a:solidFill>
                    <a:schemeClr val="dk2"/>
                  </a:solidFill>
                  <a:latin typeface="Roboto Lt"/>
                  <a:ea typeface="Roboto Lt"/>
                  <a:cs typeface="Roboto Lt"/>
                  <a:sym typeface="Roboto Light"/>
                </a:defRPr>
              </a:lvl7pPr>
              <a:lvl8pPr marL="3657600" marR="0" lvl="7" indent="-304800" algn="l" rtl="0">
                <a:lnSpc>
                  <a:spcPct val="115000"/>
                </a:lnSpc>
                <a:spcBef>
                  <a:spcPts val="1600"/>
                </a:spcBef>
                <a:spcAft>
                  <a:spcPts val="0"/>
                </a:spcAft>
                <a:buClr>
                  <a:srgbClr val="AD1F25"/>
                </a:buClr>
                <a:buSzPts val="1200"/>
                <a:buFont typeface="Roboto Light"/>
                <a:buChar char="⪢"/>
                <a:defRPr sz="1200" b="0" i="0" u="none" strike="noStrike" cap="none">
                  <a:solidFill>
                    <a:schemeClr val="dk2"/>
                  </a:solidFill>
                  <a:latin typeface="Roboto Lt"/>
                  <a:ea typeface="Roboto Lt"/>
                  <a:cs typeface="Roboto Lt"/>
                  <a:sym typeface="Roboto Light"/>
                </a:defRPr>
              </a:lvl8pPr>
              <a:lvl9pPr marL="4114800" marR="0" lvl="8" indent="-304800" algn="l" rtl="0">
                <a:lnSpc>
                  <a:spcPct val="115000"/>
                </a:lnSpc>
                <a:spcBef>
                  <a:spcPts val="1600"/>
                </a:spcBef>
                <a:spcAft>
                  <a:spcPts val="1600"/>
                </a:spcAft>
                <a:buClr>
                  <a:srgbClr val="AD1F25"/>
                </a:buClr>
                <a:buSzPts val="1200"/>
                <a:buFont typeface="Roboto Light"/>
                <a:buChar char="⪢"/>
                <a:defRPr sz="1200" b="0" i="0" u="none" strike="noStrike" cap="none">
                  <a:solidFill>
                    <a:schemeClr val="dk2"/>
                  </a:solidFill>
                  <a:latin typeface="Roboto Lt"/>
                  <a:ea typeface="Roboto Lt"/>
                  <a:cs typeface="Roboto Lt"/>
                  <a:sym typeface="Roboto Light"/>
                </a:defRPr>
              </a:lvl9pPr>
            </a:lstStyle>
            <a:p>
              <a:pPr marL="0" indent="0" algn="ct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r>
                <a:rPr lang="en-US" sz="1471" dirty="0">
                  <a:solidFill>
                    <a:schemeClr val="tx1"/>
                  </a:solidFill>
                  <a:latin typeface="+mn-lt"/>
                  <a:cs typeface="Arial" panose="020B0604020202020204" pitchFamily="34" charset="0"/>
                </a:rPr>
                <a:t>Insert Text Here</a:t>
              </a: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1488F272-77EE-A8FB-3254-C99C1B814396}"/>
                </a:ext>
              </a:extLst>
            </p:cNvPr>
            <p:cNvSpPr>
              <a:spLocks/>
            </p:cNvSpPr>
            <p:nvPr/>
          </p:nvSpPr>
          <p:spPr>
            <a:xfrm>
              <a:off x="770186" y="2633440"/>
              <a:ext cx="3495149" cy="22634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b" anchorCtr="0">
              <a:spAutoFit/>
            </a:bodyPr>
            <a:lstStyle/>
            <a:p>
              <a:pPr algn="ctr" defTabSz="866881">
                <a:buClr>
                  <a:srgbClr val="000000"/>
                </a:buClr>
                <a:defRPr/>
              </a:pPr>
              <a:r>
                <a:rPr lang="en-US" sz="1471" b="1" kern="0" dirty="0">
                  <a:solidFill>
                    <a:schemeClr val="tx1"/>
                  </a:solidFill>
                  <a:ea typeface="Roboto Lt" pitchFamily="2" charset="0"/>
                  <a:cs typeface="Arial" panose="020B0604020202020204" pitchFamily="34" charset="0"/>
                  <a:sym typeface="Arial"/>
                </a:rPr>
                <a:t>Tit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15598856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8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06352"/>
      </a:accent1>
      <a:accent2>
        <a:srgbClr val="97D0B1"/>
      </a:accent2>
      <a:accent3>
        <a:srgbClr val="C8C2E0"/>
      </a:accent3>
      <a:accent4>
        <a:srgbClr val="F05C4F"/>
      </a:accent4>
      <a:accent5>
        <a:srgbClr val="292866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6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952</TotalTime>
  <Words>17</Words>
  <Application>Microsoft Office PowerPoint</Application>
  <PresentationFormat>Widescreen</PresentationFormat>
  <Paragraphs>11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0" baseType="lpstr">
      <vt:lpstr>Arial</vt:lpstr>
      <vt:lpstr>Calibri</vt:lpstr>
      <vt:lpstr>Courier New</vt:lpstr>
      <vt:lpstr>Crimson Pro</vt:lpstr>
      <vt:lpstr>Roboto</vt:lpstr>
      <vt:lpstr>Roboto Lt</vt:lpstr>
      <vt:lpstr>Wingdings</vt:lpstr>
      <vt:lpstr>Office Theme</vt:lpstr>
      <vt:lpstr>think-cell Slide</vt:lpstr>
      <vt:lpstr>Table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raining Template</dc:title>
  <dc:subject/>
  <dc:creator>Analyst Academy LLC</dc:creator>
  <cp:keywords/>
  <dc:description/>
  <cp:lastModifiedBy>Diam Cabatay</cp:lastModifiedBy>
  <cp:revision>540</cp:revision>
  <dcterms:created xsi:type="dcterms:W3CDTF">2021-03-31T02:49:57Z</dcterms:created>
  <dcterms:modified xsi:type="dcterms:W3CDTF">2025-10-16T11:16:54Z</dcterms:modified>
  <cp:category/>
</cp:coreProperties>
</file>